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7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FFDD91-CFDB-E70F-A3F2-B957E02B85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9" name="think-cell data - do not delete" hidden="1">
            <a:extLst>
              <a:ext uri="{FF2B5EF4-FFF2-40B4-BE49-F238E27FC236}">
                <a16:creationId xmlns:a16="http://schemas.microsoft.com/office/drawing/2014/main" id="{1E3DEFC1-E25D-5250-C16D-124591C8F9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8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3DEFC1-E25D-5250-C16D-124591C8F9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A01FE4-FFC2-28D5-B97E-494F08ECC8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08445B-C37A-1790-FDEF-CB1BC39F4C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5209B8B-84EE-9D2D-863D-4E56425028A7}"/>
              </a:ext>
            </a:extLst>
          </p:cNvPr>
          <p:cNvGrpSpPr/>
          <p:nvPr/>
        </p:nvGrpSpPr>
        <p:grpSpPr>
          <a:xfrm>
            <a:off x="3803650" y="1371600"/>
            <a:ext cx="4343399" cy="4348052"/>
            <a:chOff x="-1025525" y="1961100"/>
            <a:chExt cx="4343399" cy="4348052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5BE5F753-9AAE-6F35-92BB-5D2F78EEDD8C}"/>
                </a:ext>
              </a:extLst>
            </p:cNvPr>
            <p:cNvGrpSpPr>
              <a:grpSpLocks/>
            </p:cNvGrpSpPr>
            <p:nvPr/>
          </p:nvGrpSpPr>
          <p:grpSpPr>
            <a:xfrm>
              <a:off x="-1025525" y="1961100"/>
              <a:ext cx="4343399" cy="4348052"/>
              <a:chOff x="-3741738" y="484188"/>
              <a:chExt cx="4792664" cy="4811712"/>
            </a:xfrm>
          </p:grpSpPr>
          <p:sp>
            <p:nvSpPr>
              <p:cNvPr id="67" name="Freeform 14">
                <a:extLst>
                  <a:ext uri="{FF2B5EF4-FFF2-40B4-BE49-F238E27FC236}">
                    <a16:creationId xmlns:a16="http://schemas.microsoft.com/office/drawing/2014/main" id="{F78F8642-CC99-A7B1-DA0E-2DE3AF2122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44612" y="484188"/>
                <a:ext cx="2395538" cy="3608387"/>
              </a:xfrm>
              <a:custGeom>
                <a:avLst/>
                <a:gdLst>
                  <a:gd name="T0" fmla="*/ 0 w 1509"/>
                  <a:gd name="T1" fmla="*/ 0 h 2273"/>
                  <a:gd name="T2" fmla="*/ 154 w 1509"/>
                  <a:gd name="T3" fmla="*/ 12 h 2273"/>
                  <a:gd name="T4" fmla="*/ 303 w 1509"/>
                  <a:gd name="T5" fmla="*/ 35 h 2273"/>
                  <a:gd name="T6" fmla="*/ 446 w 1509"/>
                  <a:gd name="T7" fmla="*/ 69 h 2273"/>
                  <a:gd name="T8" fmla="*/ 589 w 1509"/>
                  <a:gd name="T9" fmla="*/ 121 h 2273"/>
                  <a:gd name="T10" fmla="*/ 720 w 1509"/>
                  <a:gd name="T11" fmla="*/ 184 h 2273"/>
                  <a:gd name="T12" fmla="*/ 840 w 1509"/>
                  <a:gd name="T13" fmla="*/ 259 h 2273"/>
                  <a:gd name="T14" fmla="*/ 960 w 1509"/>
                  <a:gd name="T15" fmla="*/ 350 h 2273"/>
                  <a:gd name="T16" fmla="*/ 1069 w 1509"/>
                  <a:gd name="T17" fmla="*/ 448 h 2273"/>
                  <a:gd name="T18" fmla="*/ 1166 w 1509"/>
                  <a:gd name="T19" fmla="*/ 551 h 2273"/>
                  <a:gd name="T20" fmla="*/ 1252 w 1509"/>
                  <a:gd name="T21" fmla="*/ 672 h 2273"/>
                  <a:gd name="T22" fmla="*/ 1326 w 1509"/>
                  <a:gd name="T23" fmla="*/ 798 h 2273"/>
                  <a:gd name="T24" fmla="*/ 1389 w 1509"/>
                  <a:gd name="T25" fmla="*/ 930 h 2273"/>
                  <a:gd name="T26" fmla="*/ 1441 w 1509"/>
                  <a:gd name="T27" fmla="*/ 1068 h 2273"/>
                  <a:gd name="T28" fmla="*/ 1481 w 1509"/>
                  <a:gd name="T29" fmla="*/ 1211 h 2273"/>
                  <a:gd name="T30" fmla="*/ 1504 w 1509"/>
                  <a:gd name="T31" fmla="*/ 1361 h 2273"/>
                  <a:gd name="T32" fmla="*/ 1509 w 1509"/>
                  <a:gd name="T33" fmla="*/ 1516 h 2273"/>
                  <a:gd name="T34" fmla="*/ 1504 w 1509"/>
                  <a:gd name="T35" fmla="*/ 1619 h 2273"/>
                  <a:gd name="T36" fmla="*/ 1498 w 1509"/>
                  <a:gd name="T37" fmla="*/ 1717 h 2273"/>
                  <a:gd name="T38" fmla="*/ 1481 w 1509"/>
                  <a:gd name="T39" fmla="*/ 1814 h 2273"/>
                  <a:gd name="T40" fmla="*/ 1458 w 1509"/>
                  <a:gd name="T41" fmla="*/ 1912 h 2273"/>
                  <a:gd name="T42" fmla="*/ 1429 w 1509"/>
                  <a:gd name="T43" fmla="*/ 2004 h 2273"/>
                  <a:gd name="T44" fmla="*/ 1395 w 1509"/>
                  <a:gd name="T45" fmla="*/ 2095 h 2273"/>
                  <a:gd name="T46" fmla="*/ 1355 w 1509"/>
                  <a:gd name="T47" fmla="*/ 2187 h 2273"/>
                  <a:gd name="T48" fmla="*/ 1309 w 1509"/>
                  <a:gd name="T49" fmla="*/ 2273 h 2273"/>
                  <a:gd name="T50" fmla="*/ 0 w 1509"/>
                  <a:gd name="T51" fmla="*/ 1516 h 2273"/>
                  <a:gd name="T52" fmla="*/ 0 w 1509"/>
                  <a:gd name="T53" fmla="*/ 0 h 2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09" h="2273">
                    <a:moveTo>
                      <a:pt x="0" y="0"/>
                    </a:moveTo>
                    <a:lnTo>
                      <a:pt x="154" y="12"/>
                    </a:lnTo>
                    <a:lnTo>
                      <a:pt x="303" y="35"/>
                    </a:lnTo>
                    <a:lnTo>
                      <a:pt x="446" y="69"/>
                    </a:lnTo>
                    <a:lnTo>
                      <a:pt x="589" y="121"/>
                    </a:lnTo>
                    <a:lnTo>
                      <a:pt x="720" y="184"/>
                    </a:lnTo>
                    <a:lnTo>
                      <a:pt x="840" y="259"/>
                    </a:lnTo>
                    <a:lnTo>
                      <a:pt x="960" y="350"/>
                    </a:lnTo>
                    <a:lnTo>
                      <a:pt x="1069" y="448"/>
                    </a:lnTo>
                    <a:lnTo>
                      <a:pt x="1166" y="551"/>
                    </a:lnTo>
                    <a:lnTo>
                      <a:pt x="1252" y="672"/>
                    </a:lnTo>
                    <a:lnTo>
                      <a:pt x="1326" y="798"/>
                    </a:lnTo>
                    <a:lnTo>
                      <a:pt x="1389" y="930"/>
                    </a:lnTo>
                    <a:lnTo>
                      <a:pt x="1441" y="1068"/>
                    </a:lnTo>
                    <a:lnTo>
                      <a:pt x="1481" y="1211"/>
                    </a:lnTo>
                    <a:lnTo>
                      <a:pt x="1504" y="1361"/>
                    </a:lnTo>
                    <a:lnTo>
                      <a:pt x="1509" y="1516"/>
                    </a:lnTo>
                    <a:lnTo>
                      <a:pt x="1504" y="1619"/>
                    </a:lnTo>
                    <a:lnTo>
                      <a:pt x="1498" y="1717"/>
                    </a:lnTo>
                    <a:lnTo>
                      <a:pt x="1481" y="1814"/>
                    </a:lnTo>
                    <a:lnTo>
                      <a:pt x="1458" y="1912"/>
                    </a:lnTo>
                    <a:lnTo>
                      <a:pt x="1429" y="2004"/>
                    </a:lnTo>
                    <a:lnTo>
                      <a:pt x="1395" y="2095"/>
                    </a:lnTo>
                    <a:lnTo>
                      <a:pt x="1355" y="2187"/>
                    </a:lnTo>
                    <a:lnTo>
                      <a:pt x="1309" y="2273"/>
                    </a:lnTo>
                    <a:lnTo>
                      <a:pt x="0" y="15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16">
                <a:extLst>
                  <a:ext uri="{FF2B5EF4-FFF2-40B4-BE49-F238E27FC236}">
                    <a16:creationId xmlns:a16="http://schemas.microsoft.com/office/drawing/2014/main" id="{3331A005-3881-D32B-FB4A-65DD2E4E99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422650" y="2890838"/>
                <a:ext cx="4156076" cy="2405062"/>
              </a:xfrm>
              <a:custGeom>
                <a:avLst/>
                <a:gdLst>
                  <a:gd name="T0" fmla="*/ 2618 w 2618"/>
                  <a:gd name="T1" fmla="*/ 757 h 1515"/>
                  <a:gd name="T2" fmla="*/ 2532 w 2618"/>
                  <a:gd name="T3" fmla="*/ 889 h 1515"/>
                  <a:gd name="T4" fmla="*/ 2435 w 2618"/>
                  <a:gd name="T5" fmla="*/ 1010 h 1515"/>
                  <a:gd name="T6" fmla="*/ 2332 w 2618"/>
                  <a:gd name="T7" fmla="*/ 1119 h 1515"/>
                  <a:gd name="T8" fmla="*/ 2218 w 2618"/>
                  <a:gd name="T9" fmla="*/ 1211 h 1515"/>
                  <a:gd name="T10" fmla="*/ 2098 w 2618"/>
                  <a:gd name="T11" fmla="*/ 1297 h 1515"/>
                  <a:gd name="T12" fmla="*/ 1972 w 2618"/>
                  <a:gd name="T13" fmla="*/ 1366 h 1515"/>
                  <a:gd name="T14" fmla="*/ 1835 w 2618"/>
                  <a:gd name="T15" fmla="*/ 1423 h 1515"/>
                  <a:gd name="T16" fmla="*/ 1698 w 2618"/>
                  <a:gd name="T17" fmla="*/ 1463 h 1515"/>
                  <a:gd name="T18" fmla="*/ 1555 w 2618"/>
                  <a:gd name="T19" fmla="*/ 1498 h 1515"/>
                  <a:gd name="T20" fmla="*/ 1412 w 2618"/>
                  <a:gd name="T21" fmla="*/ 1515 h 1515"/>
                  <a:gd name="T22" fmla="*/ 1269 w 2618"/>
                  <a:gd name="T23" fmla="*/ 1515 h 1515"/>
                  <a:gd name="T24" fmla="*/ 1120 w 2618"/>
                  <a:gd name="T25" fmla="*/ 1509 h 1515"/>
                  <a:gd name="T26" fmla="*/ 977 w 2618"/>
                  <a:gd name="T27" fmla="*/ 1480 h 1515"/>
                  <a:gd name="T28" fmla="*/ 834 w 2618"/>
                  <a:gd name="T29" fmla="*/ 1440 h 1515"/>
                  <a:gd name="T30" fmla="*/ 691 w 2618"/>
                  <a:gd name="T31" fmla="*/ 1383 h 1515"/>
                  <a:gd name="T32" fmla="*/ 554 w 2618"/>
                  <a:gd name="T33" fmla="*/ 1314 h 1515"/>
                  <a:gd name="T34" fmla="*/ 388 w 2618"/>
                  <a:gd name="T35" fmla="*/ 1205 h 1515"/>
                  <a:gd name="T36" fmla="*/ 240 w 2618"/>
                  <a:gd name="T37" fmla="*/ 1073 h 1515"/>
                  <a:gd name="T38" fmla="*/ 108 w 2618"/>
                  <a:gd name="T39" fmla="*/ 924 h 1515"/>
                  <a:gd name="T40" fmla="*/ 0 w 2618"/>
                  <a:gd name="T41" fmla="*/ 757 h 1515"/>
                  <a:gd name="T42" fmla="*/ 1309 w 2618"/>
                  <a:gd name="T43" fmla="*/ 0 h 1515"/>
                  <a:gd name="T44" fmla="*/ 2618 w 2618"/>
                  <a:gd name="T45" fmla="*/ 757 h 1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18" h="1515">
                    <a:moveTo>
                      <a:pt x="2618" y="757"/>
                    </a:moveTo>
                    <a:lnTo>
                      <a:pt x="2532" y="889"/>
                    </a:lnTo>
                    <a:lnTo>
                      <a:pt x="2435" y="1010"/>
                    </a:lnTo>
                    <a:lnTo>
                      <a:pt x="2332" y="1119"/>
                    </a:lnTo>
                    <a:lnTo>
                      <a:pt x="2218" y="1211"/>
                    </a:lnTo>
                    <a:lnTo>
                      <a:pt x="2098" y="1297"/>
                    </a:lnTo>
                    <a:lnTo>
                      <a:pt x="1972" y="1366"/>
                    </a:lnTo>
                    <a:lnTo>
                      <a:pt x="1835" y="1423"/>
                    </a:lnTo>
                    <a:lnTo>
                      <a:pt x="1698" y="1463"/>
                    </a:lnTo>
                    <a:lnTo>
                      <a:pt x="1555" y="1498"/>
                    </a:lnTo>
                    <a:lnTo>
                      <a:pt x="1412" y="1515"/>
                    </a:lnTo>
                    <a:lnTo>
                      <a:pt x="1269" y="1515"/>
                    </a:lnTo>
                    <a:lnTo>
                      <a:pt x="1120" y="1509"/>
                    </a:lnTo>
                    <a:lnTo>
                      <a:pt x="977" y="1480"/>
                    </a:lnTo>
                    <a:lnTo>
                      <a:pt x="834" y="1440"/>
                    </a:lnTo>
                    <a:lnTo>
                      <a:pt x="691" y="1383"/>
                    </a:lnTo>
                    <a:lnTo>
                      <a:pt x="554" y="1314"/>
                    </a:lnTo>
                    <a:lnTo>
                      <a:pt x="388" y="1205"/>
                    </a:lnTo>
                    <a:lnTo>
                      <a:pt x="240" y="1073"/>
                    </a:lnTo>
                    <a:lnTo>
                      <a:pt x="108" y="924"/>
                    </a:lnTo>
                    <a:lnTo>
                      <a:pt x="0" y="757"/>
                    </a:lnTo>
                    <a:lnTo>
                      <a:pt x="1309" y="0"/>
                    </a:lnTo>
                    <a:lnTo>
                      <a:pt x="2618" y="757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18">
                <a:extLst>
                  <a:ext uri="{FF2B5EF4-FFF2-40B4-BE49-F238E27FC236}">
                    <a16:creationId xmlns:a16="http://schemas.microsoft.com/office/drawing/2014/main" id="{F0EB306E-7BFE-6767-B174-21D84B97C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741738" y="484188"/>
                <a:ext cx="2397125" cy="3608387"/>
              </a:xfrm>
              <a:custGeom>
                <a:avLst/>
                <a:gdLst>
                  <a:gd name="T0" fmla="*/ 201 w 1510"/>
                  <a:gd name="T1" fmla="*/ 2273 h 2273"/>
                  <a:gd name="T2" fmla="*/ 132 w 1510"/>
                  <a:gd name="T3" fmla="*/ 2136 h 2273"/>
                  <a:gd name="T4" fmla="*/ 75 w 1510"/>
                  <a:gd name="T5" fmla="*/ 1998 h 2273"/>
                  <a:gd name="T6" fmla="*/ 35 w 1510"/>
                  <a:gd name="T7" fmla="*/ 1854 h 2273"/>
                  <a:gd name="T8" fmla="*/ 12 w 1510"/>
                  <a:gd name="T9" fmla="*/ 1705 h 2273"/>
                  <a:gd name="T10" fmla="*/ 0 w 1510"/>
                  <a:gd name="T11" fmla="*/ 1562 h 2273"/>
                  <a:gd name="T12" fmla="*/ 0 w 1510"/>
                  <a:gd name="T13" fmla="*/ 1412 h 2273"/>
                  <a:gd name="T14" fmla="*/ 18 w 1510"/>
                  <a:gd name="T15" fmla="*/ 1269 h 2273"/>
                  <a:gd name="T16" fmla="*/ 52 w 1510"/>
                  <a:gd name="T17" fmla="*/ 1125 h 2273"/>
                  <a:gd name="T18" fmla="*/ 92 w 1510"/>
                  <a:gd name="T19" fmla="*/ 988 h 2273"/>
                  <a:gd name="T20" fmla="*/ 149 w 1510"/>
                  <a:gd name="T21" fmla="*/ 856 h 2273"/>
                  <a:gd name="T22" fmla="*/ 223 w 1510"/>
                  <a:gd name="T23" fmla="*/ 724 h 2273"/>
                  <a:gd name="T24" fmla="*/ 303 w 1510"/>
                  <a:gd name="T25" fmla="*/ 603 h 2273"/>
                  <a:gd name="T26" fmla="*/ 401 w 1510"/>
                  <a:gd name="T27" fmla="*/ 488 h 2273"/>
                  <a:gd name="T28" fmla="*/ 504 w 1510"/>
                  <a:gd name="T29" fmla="*/ 385 h 2273"/>
                  <a:gd name="T30" fmla="*/ 624 w 1510"/>
                  <a:gd name="T31" fmla="*/ 287 h 2273"/>
                  <a:gd name="T32" fmla="*/ 755 w 1510"/>
                  <a:gd name="T33" fmla="*/ 207 h 2273"/>
                  <a:gd name="T34" fmla="*/ 841 w 1510"/>
                  <a:gd name="T35" fmla="*/ 155 h 2273"/>
                  <a:gd name="T36" fmla="*/ 932 w 1510"/>
                  <a:gd name="T37" fmla="*/ 115 h 2273"/>
                  <a:gd name="T38" fmla="*/ 1024 w 1510"/>
                  <a:gd name="T39" fmla="*/ 81 h 2273"/>
                  <a:gd name="T40" fmla="*/ 1115 w 1510"/>
                  <a:gd name="T41" fmla="*/ 52 h 2273"/>
                  <a:gd name="T42" fmla="*/ 1213 w 1510"/>
                  <a:gd name="T43" fmla="*/ 29 h 2273"/>
                  <a:gd name="T44" fmla="*/ 1310 w 1510"/>
                  <a:gd name="T45" fmla="*/ 18 h 2273"/>
                  <a:gd name="T46" fmla="*/ 1407 w 1510"/>
                  <a:gd name="T47" fmla="*/ 6 h 2273"/>
                  <a:gd name="T48" fmla="*/ 1510 w 1510"/>
                  <a:gd name="T49" fmla="*/ 0 h 2273"/>
                  <a:gd name="T50" fmla="*/ 1510 w 1510"/>
                  <a:gd name="T51" fmla="*/ 1516 h 2273"/>
                  <a:gd name="T52" fmla="*/ 201 w 1510"/>
                  <a:gd name="T53" fmla="*/ 2273 h 2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10" h="2273">
                    <a:moveTo>
                      <a:pt x="201" y="2273"/>
                    </a:moveTo>
                    <a:lnTo>
                      <a:pt x="132" y="2136"/>
                    </a:lnTo>
                    <a:lnTo>
                      <a:pt x="75" y="1998"/>
                    </a:lnTo>
                    <a:lnTo>
                      <a:pt x="35" y="1854"/>
                    </a:lnTo>
                    <a:lnTo>
                      <a:pt x="12" y="1705"/>
                    </a:lnTo>
                    <a:lnTo>
                      <a:pt x="0" y="1562"/>
                    </a:lnTo>
                    <a:lnTo>
                      <a:pt x="0" y="1412"/>
                    </a:lnTo>
                    <a:lnTo>
                      <a:pt x="18" y="1269"/>
                    </a:lnTo>
                    <a:lnTo>
                      <a:pt x="52" y="1125"/>
                    </a:lnTo>
                    <a:lnTo>
                      <a:pt x="92" y="988"/>
                    </a:lnTo>
                    <a:lnTo>
                      <a:pt x="149" y="856"/>
                    </a:lnTo>
                    <a:lnTo>
                      <a:pt x="223" y="724"/>
                    </a:lnTo>
                    <a:lnTo>
                      <a:pt x="303" y="603"/>
                    </a:lnTo>
                    <a:lnTo>
                      <a:pt x="401" y="488"/>
                    </a:lnTo>
                    <a:lnTo>
                      <a:pt x="504" y="385"/>
                    </a:lnTo>
                    <a:lnTo>
                      <a:pt x="624" y="287"/>
                    </a:lnTo>
                    <a:lnTo>
                      <a:pt x="755" y="207"/>
                    </a:lnTo>
                    <a:lnTo>
                      <a:pt x="841" y="155"/>
                    </a:lnTo>
                    <a:lnTo>
                      <a:pt x="932" y="115"/>
                    </a:lnTo>
                    <a:lnTo>
                      <a:pt x="1024" y="81"/>
                    </a:lnTo>
                    <a:lnTo>
                      <a:pt x="1115" y="52"/>
                    </a:lnTo>
                    <a:lnTo>
                      <a:pt x="1213" y="29"/>
                    </a:lnTo>
                    <a:lnTo>
                      <a:pt x="1310" y="18"/>
                    </a:lnTo>
                    <a:lnTo>
                      <a:pt x="1407" y="6"/>
                    </a:lnTo>
                    <a:lnTo>
                      <a:pt x="1510" y="0"/>
                    </a:lnTo>
                    <a:lnTo>
                      <a:pt x="1510" y="1516"/>
                    </a:lnTo>
                    <a:lnTo>
                      <a:pt x="201" y="2273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D0D02583-AFD1-E221-352D-F24A90F16375}"/>
                </a:ext>
              </a:extLst>
            </p:cNvPr>
            <p:cNvGrpSpPr>
              <a:grpSpLocks/>
            </p:cNvGrpSpPr>
            <p:nvPr/>
          </p:nvGrpSpPr>
          <p:grpSpPr>
            <a:xfrm>
              <a:off x="-521613" y="2463867"/>
              <a:ext cx="3335575" cy="3342519"/>
              <a:chOff x="-3741738" y="484188"/>
              <a:chExt cx="4792664" cy="4811712"/>
            </a:xfrm>
          </p:grpSpPr>
          <p:sp>
            <p:nvSpPr>
              <p:cNvPr id="64" name="Freeform 14">
                <a:extLst>
                  <a:ext uri="{FF2B5EF4-FFF2-40B4-BE49-F238E27FC236}">
                    <a16:creationId xmlns:a16="http://schemas.microsoft.com/office/drawing/2014/main" id="{5ED456B9-485F-9050-7151-49C0E293F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44612" y="484188"/>
                <a:ext cx="2395538" cy="3608387"/>
              </a:xfrm>
              <a:custGeom>
                <a:avLst/>
                <a:gdLst>
                  <a:gd name="T0" fmla="*/ 0 w 1509"/>
                  <a:gd name="T1" fmla="*/ 0 h 2273"/>
                  <a:gd name="T2" fmla="*/ 154 w 1509"/>
                  <a:gd name="T3" fmla="*/ 12 h 2273"/>
                  <a:gd name="T4" fmla="*/ 303 w 1509"/>
                  <a:gd name="T5" fmla="*/ 35 h 2273"/>
                  <a:gd name="T6" fmla="*/ 446 w 1509"/>
                  <a:gd name="T7" fmla="*/ 69 h 2273"/>
                  <a:gd name="T8" fmla="*/ 589 w 1509"/>
                  <a:gd name="T9" fmla="*/ 121 h 2273"/>
                  <a:gd name="T10" fmla="*/ 720 w 1509"/>
                  <a:gd name="T11" fmla="*/ 184 h 2273"/>
                  <a:gd name="T12" fmla="*/ 840 w 1509"/>
                  <a:gd name="T13" fmla="*/ 259 h 2273"/>
                  <a:gd name="T14" fmla="*/ 960 w 1509"/>
                  <a:gd name="T15" fmla="*/ 350 h 2273"/>
                  <a:gd name="T16" fmla="*/ 1069 w 1509"/>
                  <a:gd name="T17" fmla="*/ 448 h 2273"/>
                  <a:gd name="T18" fmla="*/ 1166 w 1509"/>
                  <a:gd name="T19" fmla="*/ 551 h 2273"/>
                  <a:gd name="T20" fmla="*/ 1252 w 1509"/>
                  <a:gd name="T21" fmla="*/ 672 h 2273"/>
                  <a:gd name="T22" fmla="*/ 1326 w 1509"/>
                  <a:gd name="T23" fmla="*/ 798 h 2273"/>
                  <a:gd name="T24" fmla="*/ 1389 w 1509"/>
                  <a:gd name="T25" fmla="*/ 930 h 2273"/>
                  <a:gd name="T26" fmla="*/ 1441 w 1509"/>
                  <a:gd name="T27" fmla="*/ 1068 h 2273"/>
                  <a:gd name="T28" fmla="*/ 1481 w 1509"/>
                  <a:gd name="T29" fmla="*/ 1211 h 2273"/>
                  <a:gd name="T30" fmla="*/ 1504 w 1509"/>
                  <a:gd name="T31" fmla="*/ 1361 h 2273"/>
                  <a:gd name="T32" fmla="*/ 1509 w 1509"/>
                  <a:gd name="T33" fmla="*/ 1516 h 2273"/>
                  <a:gd name="T34" fmla="*/ 1504 w 1509"/>
                  <a:gd name="T35" fmla="*/ 1619 h 2273"/>
                  <a:gd name="T36" fmla="*/ 1498 w 1509"/>
                  <a:gd name="T37" fmla="*/ 1717 h 2273"/>
                  <a:gd name="T38" fmla="*/ 1481 w 1509"/>
                  <a:gd name="T39" fmla="*/ 1814 h 2273"/>
                  <a:gd name="T40" fmla="*/ 1458 w 1509"/>
                  <a:gd name="T41" fmla="*/ 1912 h 2273"/>
                  <a:gd name="T42" fmla="*/ 1429 w 1509"/>
                  <a:gd name="T43" fmla="*/ 2004 h 2273"/>
                  <a:gd name="T44" fmla="*/ 1395 w 1509"/>
                  <a:gd name="T45" fmla="*/ 2095 h 2273"/>
                  <a:gd name="T46" fmla="*/ 1355 w 1509"/>
                  <a:gd name="T47" fmla="*/ 2187 h 2273"/>
                  <a:gd name="T48" fmla="*/ 1309 w 1509"/>
                  <a:gd name="T49" fmla="*/ 2273 h 2273"/>
                  <a:gd name="T50" fmla="*/ 0 w 1509"/>
                  <a:gd name="T51" fmla="*/ 1516 h 2273"/>
                  <a:gd name="T52" fmla="*/ 0 w 1509"/>
                  <a:gd name="T53" fmla="*/ 0 h 2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09" h="2273">
                    <a:moveTo>
                      <a:pt x="0" y="0"/>
                    </a:moveTo>
                    <a:lnTo>
                      <a:pt x="154" y="12"/>
                    </a:lnTo>
                    <a:lnTo>
                      <a:pt x="303" y="35"/>
                    </a:lnTo>
                    <a:lnTo>
                      <a:pt x="446" y="69"/>
                    </a:lnTo>
                    <a:lnTo>
                      <a:pt x="589" y="121"/>
                    </a:lnTo>
                    <a:lnTo>
                      <a:pt x="720" y="184"/>
                    </a:lnTo>
                    <a:lnTo>
                      <a:pt x="840" y="259"/>
                    </a:lnTo>
                    <a:lnTo>
                      <a:pt x="960" y="350"/>
                    </a:lnTo>
                    <a:lnTo>
                      <a:pt x="1069" y="448"/>
                    </a:lnTo>
                    <a:lnTo>
                      <a:pt x="1166" y="551"/>
                    </a:lnTo>
                    <a:lnTo>
                      <a:pt x="1252" y="672"/>
                    </a:lnTo>
                    <a:lnTo>
                      <a:pt x="1326" y="798"/>
                    </a:lnTo>
                    <a:lnTo>
                      <a:pt x="1389" y="930"/>
                    </a:lnTo>
                    <a:lnTo>
                      <a:pt x="1441" y="1068"/>
                    </a:lnTo>
                    <a:lnTo>
                      <a:pt x="1481" y="1211"/>
                    </a:lnTo>
                    <a:lnTo>
                      <a:pt x="1504" y="1361"/>
                    </a:lnTo>
                    <a:lnTo>
                      <a:pt x="1509" y="1516"/>
                    </a:lnTo>
                    <a:lnTo>
                      <a:pt x="1504" y="1619"/>
                    </a:lnTo>
                    <a:lnTo>
                      <a:pt x="1498" y="1717"/>
                    </a:lnTo>
                    <a:lnTo>
                      <a:pt x="1481" y="1814"/>
                    </a:lnTo>
                    <a:lnTo>
                      <a:pt x="1458" y="1912"/>
                    </a:lnTo>
                    <a:lnTo>
                      <a:pt x="1429" y="2004"/>
                    </a:lnTo>
                    <a:lnTo>
                      <a:pt x="1395" y="2095"/>
                    </a:lnTo>
                    <a:lnTo>
                      <a:pt x="1355" y="2187"/>
                    </a:lnTo>
                    <a:lnTo>
                      <a:pt x="1309" y="2273"/>
                    </a:lnTo>
                    <a:lnTo>
                      <a:pt x="0" y="15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16">
                <a:extLst>
                  <a:ext uri="{FF2B5EF4-FFF2-40B4-BE49-F238E27FC236}">
                    <a16:creationId xmlns:a16="http://schemas.microsoft.com/office/drawing/2014/main" id="{31771228-A0D1-2BE9-C3D3-7F6E9B55EA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422650" y="2890838"/>
                <a:ext cx="4156076" cy="2405062"/>
              </a:xfrm>
              <a:custGeom>
                <a:avLst/>
                <a:gdLst>
                  <a:gd name="T0" fmla="*/ 2618 w 2618"/>
                  <a:gd name="T1" fmla="*/ 757 h 1515"/>
                  <a:gd name="T2" fmla="*/ 2532 w 2618"/>
                  <a:gd name="T3" fmla="*/ 889 h 1515"/>
                  <a:gd name="T4" fmla="*/ 2435 w 2618"/>
                  <a:gd name="T5" fmla="*/ 1010 h 1515"/>
                  <a:gd name="T6" fmla="*/ 2332 w 2618"/>
                  <a:gd name="T7" fmla="*/ 1119 h 1515"/>
                  <a:gd name="T8" fmla="*/ 2218 w 2618"/>
                  <a:gd name="T9" fmla="*/ 1211 h 1515"/>
                  <a:gd name="T10" fmla="*/ 2098 w 2618"/>
                  <a:gd name="T11" fmla="*/ 1297 h 1515"/>
                  <a:gd name="T12" fmla="*/ 1972 w 2618"/>
                  <a:gd name="T13" fmla="*/ 1366 h 1515"/>
                  <a:gd name="T14" fmla="*/ 1835 w 2618"/>
                  <a:gd name="T15" fmla="*/ 1423 h 1515"/>
                  <a:gd name="T16" fmla="*/ 1698 w 2618"/>
                  <a:gd name="T17" fmla="*/ 1463 h 1515"/>
                  <a:gd name="T18" fmla="*/ 1555 w 2618"/>
                  <a:gd name="T19" fmla="*/ 1498 h 1515"/>
                  <a:gd name="T20" fmla="*/ 1412 w 2618"/>
                  <a:gd name="T21" fmla="*/ 1515 h 1515"/>
                  <a:gd name="T22" fmla="*/ 1269 w 2618"/>
                  <a:gd name="T23" fmla="*/ 1515 h 1515"/>
                  <a:gd name="T24" fmla="*/ 1120 w 2618"/>
                  <a:gd name="T25" fmla="*/ 1509 h 1515"/>
                  <a:gd name="T26" fmla="*/ 977 w 2618"/>
                  <a:gd name="T27" fmla="*/ 1480 h 1515"/>
                  <a:gd name="T28" fmla="*/ 834 w 2618"/>
                  <a:gd name="T29" fmla="*/ 1440 h 1515"/>
                  <a:gd name="T30" fmla="*/ 691 w 2618"/>
                  <a:gd name="T31" fmla="*/ 1383 h 1515"/>
                  <a:gd name="T32" fmla="*/ 554 w 2618"/>
                  <a:gd name="T33" fmla="*/ 1314 h 1515"/>
                  <a:gd name="T34" fmla="*/ 388 w 2618"/>
                  <a:gd name="T35" fmla="*/ 1205 h 1515"/>
                  <a:gd name="T36" fmla="*/ 240 w 2618"/>
                  <a:gd name="T37" fmla="*/ 1073 h 1515"/>
                  <a:gd name="T38" fmla="*/ 108 w 2618"/>
                  <a:gd name="T39" fmla="*/ 924 h 1515"/>
                  <a:gd name="T40" fmla="*/ 0 w 2618"/>
                  <a:gd name="T41" fmla="*/ 757 h 1515"/>
                  <a:gd name="T42" fmla="*/ 1309 w 2618"/>
                  <a:gd name="T43" fmla="*/ 0 h 1515"/>
                  <a:gd name="T44" fmla="*/ 2618 w 2618"/>
                  <a:gd name="T45" fmla="*/ 757 h 1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18" h="1515">
                    <a:moveTo>
                      <a:pt x="2618" y="757"/>
                    </a:moveTo>
                    <a:lnTo>
                      <a:pt x="2532" y="889"/>
                    </a:lnTo>
                    <a:lnTo>
                      <a:pt x="2435" y="1010"/>
                    </a:lnTo>
                    <a:lnTo>
                      <a:pt x="2332" y="1119"/>
                    </a:lnTo>
                    <a:lnTo>
                      <a:pt x="2218" y="1211"/>
                    </a:lnTo>
                    <a:lnTo>
                      <a:pt x="2098" y="1297"/>
                    </a:lnTo>
                    <a:lnTo>
                      <a:pt x="1972" y="1366"/>
                    </a:lnTo>
                    <a:lnTo>
                      <a:pt x="1835" y="1423"/>
                    </a:lnTo>
                    <a:lnTo>
                      <a:pt x="1698" y="1463"/>
                    </a:lnTo>
                    <a:lnTo>
                      <a:pt x="1555" y="1498"/>
                    </a:lnTo>
                    <a:lnTo>
                      <a:pt x="1412" y="1515"/>
                    </a:lnTo>
                    <a:lnTo>
                      <a:pt x="1269" y="1515"/>
                    </a:lnTo>
                    <a:lnTo>
                      <a:pt x="1120" y="1509"/>
                    </a:lnTo>
                    <a:lnTo>
                      <a:pt x="977" y="1480"/>
                    </a:lnTo>
                    <a:lnTo>
                      <a:pt x="834" y="1440"/>
                    </a:lnTo>
                    <a:lnTo>
                      <a:pt x="691" y="1383"/>
                    </a:lnTo>
                    <a:lnTo>
                      <a:pt x="554" y="1314"/>
                    </a:lnTo>
                    <a:lnTo>
                      <a:pt x="388" y="1205"/>
                    </a:lnTo>
                    <a:lnTo>
                      <a:pt x="240" y="1073"/>
                    </a:lnTo>
                    <a:lnTo>
                      <a:pt x="108" y="924"/>
                    </a:lnTo>
                    <a:lnTo>
                      <a:pt x="0" y="757"/>
                    </a:lnTo>
                    <a:lnTo>
                      <a:pt x="1309" y="0"/>
                    </a:lnTo>
                    <a:lnTo>
                      <a:pt x="2618" y="757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18">
                <a:extLst>
                  <a:ext uri="{FF2B5EF4-FFF2-40B4-BE49-F238E27FC236}">
                    <a16:creationId xmlns:a16="http://schemas.microsoft.com/office/drawing/2014/main" id="{8D460C35-0387-CE79-C0DE-F3A3D0A421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741738" y="484188"/>
                <a:ext cx="2397125" cy="3608387"/>
              </a:xfrm>
              <a:custGeom>
                <a:avLst/>
                <a:gdLst>
                  <a:gd name="T0" fmla="*/ 201 w 1510"/>
                  <a:gd name="T1" fmla="*/ 2273 h 2273"/>
                  <a:gd name="T2" fmla="*/ 132 w 1510"/>
                  <a:gd name="T3" fmla="*/ 2136 h 2273"/>
                  <a:gd name="T4" fmla="*/ 75 w 1510"/>
                  <a:gd name="T5" fmla="*/ 1998 h 2273"/>
                  <a:gd name="T6" fmla="*/ 35 w 1510"/>
                  <a:gd name="T7" fmla="*/ 1854 h 2273"/>
                  <a:gd name="T8" fmla="*/ 12 w 1510"/>
                  <a:gd name="T9" fmla="*/ 1705 h 2273"/>
                  <a:gd name="T10" fmla="*/ 0 w 1510"/>
                  <a:gd name="T11" fmla="*/ 1562 h 2273"/>
                  <a:gd name="T12" fmla="*/ 0 w 1510"/>
                  <a:gd name="T13" fmla="*/ 1412 h 2273"/>
                  <a:gd name="T14" fmla="*/ 18 w 1510"/>
                  <a:gd name="T15" fmla="*/ 1269 h 2273"/>
                  <a:gd name="T16" fmla="*/ 52 w 1510"/>
                  <a:gd name="T17" fmla="*/ 1125 h 2273"/>
                  <a:gd name="T18" fmla="*/ 92 w 1510"/>
                  <a:gd name="T19" fmla="*/ 988 h 2273"/>
                  <a:gd name="T20" fmla="*/ 149 w 1510"/>
                  <a:gd name="T21" fmla="*/ 856 h 2273"/>
                  <a:gd name="T22" fmla="*/ 223 w 1510"/>
                  <a:gd name="T23" fmla="*/ 724 h 2273"/>
                  <a:gd name="T24" fmla="*/ 303 w 1510"/>
                  <a:gd name="T25" fmla="*/ 603 h 2273"/>
                  <a:gd name="T26" fmla="*/ 401 w 1510"/>
                  <a:gd name="T27" fmla="*/ 488 h 2273"/>
                  <a:gd name="T28" fmla="*/ 504 w 1510"/>
                  <a:gd name="T29" fmla="*/ 385 h 2273"/>
                  <a:gd name="T30" fmla="*/ 624 w 1510"/>
                  <a:gd name="T31" fmla="*/ 287 h 2273"/>
                  <a:gd name="T32" fmla="*/ 755 w 1510"/>
                  <a:gd name="T33" fmla="*/ 207 h 2273"/>
                  <a:gd name="T34" fmla="*/ 841 w 1510"/>
                  <a:gd name="T35" fmla="*/ 155 h 2273"/>
                  <a:gd name="T36" fmla="*/ 932 w 1510"/>
                  <a:gd name="T37" fmla="*/ 115 h 2273"/>
                  <a:gd name="T38" fmla="*/ 1024 w 1510"/>
                  <a:gd name="T39" fmla="*/ 81 h 2273"/>
                  <a:gd name="T40" fmla="*/ 1115 w 1510"/>
                  <a:gd name="T41" fmla="*/ 52 h 2273"/>
                  <a:gd name="T42" fmla="*/ 1213 w 1510"/>
                  <a:gd name="T43" fmla="*/ 29 h 2273"/>
                  <a:gd name="T44" fmla="*/ 1310 w 1510"/>
                  <a:gd name="T45" fmla="*/ 18 h 2273"/>
                  <a:gd name="T46" fmla="*/ 1407 w 1510"/>
                  <a:gd name="T47" fmla="*/ 6 h 2273"/>
                  <a:gd name="T48" fmla="*/ 1510 w 1510"/>
                  <a:gd name="T49" fmla="*/ 0 h 2273"/>
                  <a:gd name="T50" fmla="*/ 1510 w 1510"/>
                  <a:gd name="T51" fmla="*/ 1516 h 2273"/>
                  <a:gd name="T52" fmla="*/ 201 w 1510"/>
                  <a:gd name="T53" fmla="*/ 2273 h 2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10" h="2273">
                    <a:moveTo>
                      <a:pt x="201" y="2273"/>
                    </a:moveTo>
                    <a:lnTo>
                      <a:pt x="132" y="2136"/>
                    </a:lnTo>
                    <a:lnTo>
                      <a:pt x="75" y="1998"/>
                    </a:lnTo>
                    <a:lnTo>
                      <a:pt x="35" y="1854"/>
                    </a:lnTo>
                    <a:lnTo>
                      <a:pt x="12" y="1705"/>
                    </a:lnTo>
                    <a:lnTo>
                      <a:pt x="0" y="1562"/>
                    </a:lnTo>
                    <a:lnTo>
                      <a:pt x="0" y="1412"/>
                    </a:lnTo>
                    <a:lnTo>
                      <a:pt x="18" y="1269"/>
                    </a:lnTo>
                    <a:lnTo>
                      <a:pt x="52" y="1125"/>
                    </a:lnTo>
                    <a:lnTo>
                      <a:pt x="92" y="988"/>
                    </a:lnTo>
                    <a:lnTo>
                      <a:pt x="149" y="856"/>
                    </a:lnTo>
                    <a:lnTo>
                      <a:pt x="223" y="724"/>
                    </a:lnTo>
                    <a:lnTo>
                      <a:pt x="303" y="603"/>
                    </a:lnTo>
                    <a:lnTo>
                      <a:pt x="401" y="488"/>
                    </a:lnTo>
                    <a:lnTo>
                      <a:pt x="504" y="385"/>
                    </a:lnTo>
                    <a:lnTo>
                      <a:pt x="624" y="287"/>
                    </a:lnTo>
                    <a:lnTo>
                      <a:pt x="755" y="207"/>
                    </a:lnTo>
                    <a:lnTo>
                      <a:pt x="841" y="155"/>
                    </a:lnTo>
                    <a:lnTo>
                      <a:pt x="932" y="115"/>
                    </a:lnTo>
                    <a:lnTo>
                      <a:pt x="1024" y="81"/>
                    </a:lnTo>
                    <a:lnTo>
                      <a:pt x="1115" y="52"/>
                    </a:lnTo>
                    <a:lnTo>
                      <a:pt x="1213" y="29"/>
                    </a:lnTo>
                    <a:lnTo>
                      <a:pt x="1310" y="18"/>
                    </a:lnTo>
                    <a:lnTo>
                      <a:pt x="1407" y="6"/>
                    </a:lnTo>
                    <a:lnTo>
                      <a:pt x="1510" y="0"/>
                    </a:lnTo>
                    <a:lnTo>
                      <a:pt x="1510" y="1516"/>
                    </a:lnTo>
                    <a:lnTo>
                      <a:pt x="201" y="2273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0" name="Inhaltsplatzhalter 4">
            <a:extLst>
              <a:ext uri="{FF2B5EF4-FFF2-40B4-BE49-F238E27FC236}">
                <a16:creationId xmlns:a16="http://schemas.microsoft.com/office/drawing/2014/main" id="{7CE4F98E-8B26-B528-E579-CC2C7A65A073}"/>
              </a:ext>
            </a:extLst>
          </p:cNvPr>
          <p:cNvSpPr txBox="1">
            <a:spLocks/>
          </p:cNvSpPr>
          <p:nvPr/>
        </p:nvSpPr>
        <p:spPr>
          <a:xfrm>
            <a:off x="4439092" y="5880005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71" name="Inhaltsplatzhalter 4">
            <a:extLst>
              <a:ext uri="{FF2B5EF4-FFF2-40B4-BE49-F238E27FC236}">
                <a16:creationId xmlns:a16="http://schemas.microsoft.com/office/drawing/2014/main" id="{D929CB8F-351A-F5A0-5B36-648CA115B535}"/>
              </a:ext>
            </a:extLst>
          </p:cNvPr>
          <p:cNvSpPr txBox="1">
            <a:spLocks/>
          </p:cNvSpPr>
          <p:nvPr/>
        </p:nvSpPr>
        <p:spPr>
          <a:xfrm>
            <a:off x="8219619" y="2768958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72" name="Inhaltsplatzhalter 4">
            <a:extLst>
              <a:ext uri="{FF2B5EF4-FFF2-40B4-BE49-F238E27FC236}">
                <a16:creationId xmlns:a16="http://schemas.microsoft.com/office/drawing/2014/main" id="{47A229F9-14A1-D219-F4ED-38CA7DB5258D}"/>
              </a:ext>
            </a:extLst>
          </p:cNvPr>
          <p:cNvSpPr txBox="1">
            <a:spLocks/>
          </p:cNvSpPr>
          <p:nvPr/>
        </p:nvSpPr>
        <p:spPr>
          <a:xfrm>
            <a:off x="601163" y="2768958"/>
            <a:ext cx="3095119" cy="2492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fontAlgn="auto">
              <a:spcAft>
                <a:spcPts val="300"/>
              </a:spcAft>
              <a:buNone/>
            </a:pPr>
            <a:r>
              <a:rPr lang="en-US" sz="1800" b="1" dirty="0">
                <a:solidFill>
                  <a:schemeClr val="accent3"/>
                </a:solidFill>
                <a:latin typeface="+mj-lt"/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BCA97D84-8BA9-8F19-1A4F-8547095F828A}"/>
              </a:ext>
            </a:extLst>
          </p:cNvPr>
          <p:cNvSpPr/>
          <p:nvPr/>
        </p:nvSpPr>
        <p:spPr>
          <a:xfrm>
            <a:off x="5325433" y="2908357"/>
            <a:ext cx="1298246" cy="1285391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 anchor="ctr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</a:p>
        </p:txBody>
      </p:sp>
      <p:grpSp>
        <p:nvGrpSpPr>
          <p:cNvPr id="74" name="Shape0_20180718_204234">
            <a:extLst>
              <a:ext uri="{FF2B5EF4-FFF2-40B4-BE49-F238E27FC236}">
                <a16:creationId xmlns:a16="http://schemas.microsoft.com/office/drawing/2014/main" id="{7CD727B6-9784-A16D-5FD1-40A5D3481D02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823484" y="2830712"/>
            <a:ext cx="415395" cy="415395"/>
            <a:chOff x="5712408" y="975680"/>
            <a:chExt cx="671729" cy="639391"/>
          </a:xfrm>
        </p:grpSpPr>
        <p:sp>
          <p:nvSpPr>
            <p:cNvPr id="75" name="Freeform 26">
              <a:extLst>
                <a:ext uri="{FF2B5EF4-FFF2-40B4-BE49-F238E27FC236}">
                  <a16:creationId xmlns:a16="http://schemas.microsoft.com/office/drawing/2014/main" id="{2FAFF9D9-AB4F-823B-3F82-5DCCC72CFB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76" name="Freeform 27">
              <a:extLst>
                <a:ext uri="{FF2B5EF4-FFF2-40B4-BE49-F238E27FC236}">
                  <a16:creationId xmlns:a16="http://schemas.microsoft.com/office/drawing/2014/main" id="{390A0468-CC86-1B2D-B0A9-995C9BD012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77" name="Freeform 28">
              <a:extLst>
                <a:ext uri="{FF2B5EF4-FFF2-40B4-BE49-F238E27FC236}">
                  <a16:creationId xmlns:a16="http://schemas.microsoft.com/office/drawing/2014/main" id="{69ADD193-3942-9CC6-B0EA-ED7C5F3F89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78" name="Freeform 29">
              <a:extLst>
                <a:ext uri="{FF2B5EF4-FFF2-40B4-BE49-F238E27FC236}">
                  <a16:creationId xmlns:a16="http://schemas.microsoft.com/office/drawing/2014/main" id="{3726F12E-4CE1-0F82-1535-AFDF51816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79" name="Freeform 30">
              <a:extLst>
                <a:ext uri="{FF2B5EF4-FFF2-40B4-BE49-F238E27FC236}">
                  <a16:creationId xmlns:a16="http://schemas.microsoft.com/office/drawing/2014/main" id="{AB6549C8-3476-E67E-99D2-6112997CB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80" name="Freeform 31">
              <a:extLst>
                <a:ext uri="{FF2B5EF4-FFF2-40B4-BE49-F238E27FC236}">
                  <a16:creationId xmlns:a16="http://schemas.microsoft.com/office/drawing/2014/main" id="{141E68A1-B955-6C60-FA9B-B8FA84925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81" name="Shape2_20180718_204234">
            <a:extLst>
              <a:ext uri="{FF2B5EF4-FFF2-40B4-BE49-F238E27FC236}">
                <a16:creationId xmlns:a16="http://schemas.microsoft.com/office/drawing/2014/main" id="{43FFB920-BC6F-EA6B-9FDB-76E9D8AAB3DC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4774700" y="2883450"/>
            <a:ext cx="415395" cy="415395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82" name="Shape4_20180718_204234">
            <a:extLst>
              <a:ext uri="{FF2B5EF4-FFF2-40B4-BE49-F238E27FC236}">
                <a16:creationId xmlns:a16="http://schemas.microsoft.com/office/drawing/2014/main" id="{74326252-D197-244F-848C-BD391D2D845D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5763890" y="4572798"/>
            <a:ext cx="415395" cy="415395"/>
            <a:chOff x="-4769427" y="-314325"/>
            <a:chExt cx="4660901" cy="4576762"/>
          </a:xfrm>
        </p:grpSpPr>
        <p:sp>
          <p:nvSpPr>
            <p:cNvPr id="83" name="Freeform 23">
              <a:extLst>
                <a:ext uri="{FF2B5EF4-FFF2-40B4-BE49-F238E27FC236}">
                  <a16:creationId xmlns:a16="http://schemas.microsoft.com/office/drawing/2014/main" id="{423D974F-E473-619D-F4AE-CA0878AED1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4">
              <a:extLst>
                <a:ext uri="{FF2B5EF4-FFF2-40B4-BE49-F238E27FC236}">
                  <a16:creationId xmlns:a16="http://schemas.microsoft.com/office/drawing/2014/main" id="{CF0E36D5-7932-8FD4-BD48-87936C1ED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5">
              <a:extLst>
                <a:ext uri="{FF2B5EF4-FFF2-40B4-BE49-F238E27FC236}">
                  <a16:creationId xmlns:a16="http://schemas.microsoft.com/office/drawing/2014/main" id="{D37823D9-1F2A-3B97-A49E-C3EFA540C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6">
              <a:extLst>
                <a:ext uri="{FF2B5EF4-FFF2-40B4-BE49-F238E27FC236}">
                  <a16:creationId xmlns:a16="http://schemas.microsoft.com/office/drawing/2014/main" id="{4AFF487B-7E96-3AE3-73A0-D980B6EB5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7">
              <a:extLst>
                <a:ext uri="{FF2B5EF4-FFF2-40B4-BE49-F238E27FC236}">
                  <a16:creationId xmlns:a16="http://schemas.microsoft.com/office/drawing/2014/main" id="{ECECB3AE-2AA3-9D69-FB9E-E8A33779C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8">
              <a:extLst>
                <a:ext uri="{FF2B5EF4-FFF2-40B4-BE49-F238E27FC236}">
                  <a16:creationId xmlns:a16="http://schemas.microsoft.com/office/drawing/2014/main" id="{F16FA61B-1E2B-57C8-432A-03D594ABA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574726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17</TotalTime>
  <Words>10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Lato Light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02</cp:revision>
  <dcterms:created xsi:type="dcterms:W3CDTF">2021-03-31T02:49:57Z</dcterms:created>
  <dcterms:modified xsi:type="dcterms:W3CDTF">2025-10-15T03:38:33Z</dcterms:modified>
  <cp:category/>
</cp:coreProperties>
</file>